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56" r:id="rId3"/>
    <p:sldId id="2147308961" r:id="rId4"/>
    <p:sldId id="3361" r:id="rId5"/>
    <p:sldId id="2147308930" r:id="rId6"/>
    <p:sldId id="2147308972" r:id="rId7"/>
    <p:sldId id="2147308973" r:id="rId8"/>
    <p:sldId id="2147308975" r:id="rId9"/>
    <p:sldId id="2147308976" r:id="rId10"/>
    <p:sldId id="2147308977" r:id="rId11"/>
    <p:sldId id="2147308978" r:id="rId12"/>
    <p:sldId id="2147308953" r:id="rId13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libri Light" panose="020F0302020204030204" pitchFamily="34" charset="0"/>
      <p:regular r:id="rId19"/>
      <p:italic r:id="rId20"/>
    </p:embeddedFont>
    <p:embeddedFont>
      <p:font typeface="Consolas" panose="020B0609020204030204" pitchFamily="49" charset="0"/>
      <p:regular r:id="rId21"/>
      <p:bold r:id="rId22"/>
      <p:italic r:id="rId23"/>
      <p:boldItalic r:id="rId24"/>
    </p:embeddedFont>
    <p:embeddedFont>
      <p:font typeface="Montserrat" panose="00000500000000000000" pitchFamily="2" charset="0"/>
      <p:regular r:id="rId25"/>
      <p:bold r:id="rId26"/>
      <p:italic r:id="rId27"/>
      <p:boldItalic r:id="rId28"/>
    </p:embeddedFont>
    <p:embeddedFont>
      <p:font typeface="Montserrat Black" panose="00000A00000000000000" pitchFamily="2" charset="0"/>
      <p:bold r:id="rId29"/>
      <p:italic r:id="rId30"/>
      <p:boldItalic r:id="rId31"/>
    </p:embeddedFont>
    <p:embeddedFont>
      <p:font typeface="Nyala" panose="02000504070300020003" pitchFamily="2" charset="0"/>
      <p:regular r:id="rId32"/>
    </p:embeddedFont>
    <p:embeddedFont>
      <p:font typeface="Open Sans" panose="020B0606030504020204" pitchFamily="34" charset="0"/>
      <p:regular r:id="rId33"/>
      <p:bold r:id="rId34"/>
      <p:italic r:id="rId35"/>
      <p:boldItalic r:id="rId36"/>
    </p:embeddedFont>
    <p:embeddedFont>
      <p:font typeface="Open Sans Light" panose="020B0306030504020204" pitchFamily="34" charset="0"/>
      <p:regular r:id="rId37"/>
      <p:italic r:id="rId38"/>
    </p:embeddedFont>
    <p:embeddedFont>
      <p:font typeface="Verdana" panose="020B0604030504040204" pitchFamily="34" charset="0"/>
      <p:regular r:id="rId39"/>
      <p:bold r:id="rId40"/>
      <p:italic r:id="rId41"/>
      <p:boldItalic r:id="rId42"/>
    </p:embeddedFont>
    <p:embeddedFont>
      <p:font typeface="Wingdings 2" panose="05020102010507070707" pitchFamily="18" charset="2"/>
      <p:regular r:id="rId4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  <a:srgbClr val="0066FF"/>
    <a:srgbClr val="00FFFF"/>
    <a:srgbClr val="FF57FF"/>
    <a:srgbClr val="F0F000"/>
    <a:srgbClr val="FFC000"/>
    <a:srgbClr val="F7921C"/>
    <a:srgbClr val="86F200"/>
    <a:srgbClr val="FFFF00"/>
    <a:srgbClr val="1681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94342" autoAdjust="0"/>
  </p:normalViewPr>
  <p:slideViewPr>
    <p:cSldViewPr snapToGrid="0">
      <p:cViewPr varScale="1">
        <p:scale>
          <a:sx n="79" d="100"/>
          <a:sy n="79" d="100"/>
        </p:scale>
        <p:origin x="773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font" Target="fonts/font25.fntdata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42" Type="http://schemas.openxmlformats.org/officeDocument/2006/relationships/font" Target="fonts/font28.fntdata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font" Target="fonts/font23.fntdata"/><Relationship Id="rId40" Type="http://schemas.openxmlformats.org/officeDocument/2006/relationships/font" Target="fonts/font26.fntdata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font" Target="fonts/font22.fntdata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Relationship Id="rId43" Type="http://schemas.openxmlformats.org/officeDocument/2006/relationships/font" Target="fonts/font29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font" Target="fonts/font24.fntdata"/><Relationship Id="rId46" Type="http://schemas.openxmlformats.org/officeDocument/2006/relationships/theme" Target="theme/theme1.xml"/><Relationship Id="rId20" Type="http://schemas.openxmlformats.org/officeDocument/2006/relationships/font" Target="fonts/font6.fntdata"/><Relationship Id="rId41" Type="http://schemas.openxmlformats.org/officeDocument/2006/relationships/font" Target="fonts/font2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F1466B-88AC-415D-89B2-8A4A93200E0F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F9A975-B434-412D-A00A-0384A06F6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490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335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02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017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270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E5F74-8445-49B8-BC1D-32B8DEDD4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727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1658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E5F74-8445-49B8-BC1D-32B8DEDD4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658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250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382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622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9A975-B434-412D-A00A-0384A06F632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20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9CD03-2F1E-157B-8E9A-AF5CF743CD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0545A5-BE94-4578-659C-54AB9BCF19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EA0BE4-4467-6E49-C8E6-3DF901729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1A4A05-1526-9440-1706-5F6C230F4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AE17-5158-5206-C3A1-9C5A26456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957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32213-04F2-0CB9-F0B1-EA87396D2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F5749A-5BED-43B6-386A-1A40364696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5D2194-206B-3F6F-08CB-51938D05E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979025-0B0A-C9DA-081E-3E7344A3A3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7C636-18A0-7AC6-9ED8-B1FBF7D53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194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5B1EB4-C45B-6FA7-D5BC-C6586D4E65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45DB71-8569-258A-C243-D894A4D79D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5185A-4D99-5457-F48A-26ECBC4ED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A206A-826C-F567-8B32-19548B2CC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A6F302-EEEB-2683-50BC-F3E739F8F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7866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11782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1564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9045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836597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7837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6456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17035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237859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467848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70A09-D662-F376-C778-DDE66D17C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E89480-232D-0ED9-63E6-09314B39F3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ABA6B9-8F8A-B0D8-56E2-C5198E5C28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3F783-A3CB-C829-3477-976F6092B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76522-765E-9491-7BE6-CA946B219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3786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66542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809627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266214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5265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22836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96818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909989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501450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438934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8574285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73828-4E10-EE34-358E-F331F17E0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13C1BF-A164-8F07-AC0F-88E81880B7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9A4CE-CD6F-C1E3-C1F2-0174B8B40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EB1BE0-486D-3B82-B384-E0C050A19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F5F4D8-8E79-AAD7-384E-625063D6D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0442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6626489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8084554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3384667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5724438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476348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7680957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16191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448332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3666616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594655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881F4-0556-E36F-7976-AD6F4BED7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47F327-2E97-0A39-6B86-4E23CE1DAA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BFF486-CFEC-F048-DD3E-9525534BFD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FE6FF3-4DA5-9991-4718-2AA85EF21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165ACC-4CA9-8A72-6742-A55D3146A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259629-90C3-DFDA-C1CA-2DA1780A1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08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891791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89185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F181D496-F0E2-4ABA-8200-9ED1A2E0AD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23043" cy="1106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1884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519" y="393192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400" b="1" spc="-75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21840" y="1051560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400" b="0">
                <a:solidFill>
                  <a:srgbClr val="B4B4B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32286968-895F-4FB6-B265-00EE5158176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811000" y="6468814"/>
            <a:ext cx="25082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>
                    <a:lumMod val="65000"/>
                  </a:schemeClr>
                </a:solidFill>
                <a:latin typeface="Open Sans"/>
                <a:cs typeface="Open Sans"/>
              </a:defRPr>
            </a:lvl1pPr>
          </a:lstStyle>
          <a:p>
            <a:pPr marL="38100">
              <a:spcBef>
                <a:spcPts val="180"/>
              </a:spcBef>
            </a:pPr>
            <a:fld id="{81D60167-4931-47E6-BA6A-407CBD079E47}" type="slidenum">
              <a:rPr lang="en-US" smtClean="0"/>
              <a:pPr marL="38100">
                <a:spcBef>
                  <a:spcPts val="180"/>
                </a:spcBef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814766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00877-EAD9-2644-9B08-3D6DE13EC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36981"/>
            <a:ext cx="11252200" cy="543640"/>
          </a:xfrm>
          <a:prstGeom prst="rect">
            <a:avLst/>
          </a:prstGeom>
        </p:spPr>
        <p:txBody>
          <a:bodyPr lIns="0" rIns="0"/>
          <a:lstStyle>
            <a:lvl1pPr>
              <a:defRPr sz="28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304D32C-DE3E-7D4C-8A40-2E96240E90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01490"/>
            <a:ext cx="11252200" cy="41932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marL="0" indent="0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4" name="Holder 5">
            <a:extLst>
              <a:ext uri="{FF2B5EF4-FFF2-40B4-BE49-F238E27FC236}">
                <a16:creationId xmlns:a16="http://schemas.microsoft.com/office/drawing/2014/main" id="{4B5E2653-4AA8-4D37-B521-54CC15023750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AE0DC8A9-6ADA-4C56-9797-53328FBC00F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811000" y="6468814"/>
            <a:ext cx="25082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>
                    <a:lumMod val="65000"/>
                  </a:schemeClr>
                </a:solidFill>
                <a:latin typeface="Open Sans"/>
                <a:cs typeface="Open Sans"/>
              </a:defRPr>
            </a:lvl1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8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631235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999663" y="287618"/>
            <a:ext cx="1712569" cy="1678641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z="900" noProof="0"/>
              <a:t>Insert client logo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06024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Blu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EA4526-A109-47FA-BB75-B4C0ED79523C}"/>
              </a:ext>
            </a:extLst>
          </p:cNvPr>
          <p:cNvSpPr/>
          <p:nvPr userDrawn="1"/>
        </p:nvSpPr>
        <p:spPr bwMode="gray">
          <a:xfrm>
            <a:off x="0" y="0"/>
            <a:ext cx="4278313" cy="6858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0" i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434C6DD-FF38-5742-8DC5-D2E59B767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804672"/>
            <a:ext cx="3627438" cy="895541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00" b="0" i="0" spc="-75" dirty="0">
                <a:solidFill>
                  <a:schemeClr val="bg1"/>
                </a:solidFill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A0DECF8-FAA2-DC42-B5A2-E0FD5856E5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901" y="2743200"/>
            <a:ext cx="3627438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7336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50" b="0" i="0">
                <a:solidFill>
                  <a:schemeClr val="tx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rgbClr val="86BD25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811000" y="6468814"/>
            <a:ext cx="250825" cy="23304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pPr marL="38100">
              <a:lnSpc>
                <a:spcPct val="100000"/>
              </a:lnSpc>
              <a:spcBef>
                <a:spcPts val="180"/>
              </a:spcBef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2533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Lay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93776"/>
            <a:ext cx="11102975" cy="32067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 b="0" i="0" baseline="0"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0" indent="0"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2pPr>
          </a:lstStyle>
          <a:p>
            <a:pPr lvl="0"/>
            <a:r>
              <a:rPr lang="en-US"/>
              <a:t>Page tit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6343" y="178915"/>
            <a:ext cx="11102975" cy="314861"/>
          </a:xfrm>
          <a:prstGeom prst="rect">
            <a:avLst/>
          </a:prstGeom>
        </p:spPr>
        <p:txBody>
          <a:bodyPr/>
          <a:lstStyle>
            <a:lvl1pPr>
              <a:defRPr sz="1000" b="1" cap="all" spc="2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Page subtitle</a:t>
            </a:r>
          </a:p>
        </p:txBody>
      </p:sp>
    </p:spTree>
    <p:extLst>
      <p:ext uri="{BB962C8B-B14F-4D97-AF65-F5344CB8AC3E}">
        <p14:creationId xmlns:p14="http://schemas.microsoft.com/office/powerpoint/2010/main" val="35529570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725108"/>
            <a:ext cx="4389120" cy="2132892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3600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29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400" baseline="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7726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339B0-4291-F869-CEF7-CD4DFAC98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C2D0F-9CF8-A3F4-D864-1AC60968F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56506D-5150-B631-7B54-AF6B8573CF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36F249-3FF0-C5C5-4DD2-B565EA11FC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1A47A1-0B5A-389E-84D6-8D6B04E6F2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C07940-FCD7-2F86-0BFE-DA59756D6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610B31-8620-2E9D-0A98-31354D598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593A72-D500-0200-A197-80BC46729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2489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474DF-D128-3939-4B4F-86AE4ECFF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6471B5-0AD4-F8FE-6416-539894C64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7B367D-F3DB-2DF4-BFCA-0B2B685C7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23E614-1DE2-38C6-8DC3-F3034CA56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078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8499B0-B57C-9CC2-4559-91A3DAF6B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898B14-236E-EB16-9CAC-15EC7AC26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501A2D-0E67-A6F4-DBDE-5621400D3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71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F022A-CFF9-FE05-E915-2A3770E73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FDB587-2929-4157-187F-83F68D702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52DBE-B2CC-2DCC-525B-C782F4E315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BA5590-2B9B-9C99-74BF-A646A2780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506D00-2F58-BB49-A67B-C2CFD1A2D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6357E6-ECE3-3D44-E528-758EAFFD3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927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5A54C-C0B8-79E7-0E03-0D39DE799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BA96E8-290C-C80B-5F3B-44F3E50AF1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9D9658-EC63-C389-DD9F-EB8837C03A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681362-4B30-1484-BFDE-6EC36198B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EFD80C-08DE-6ED1-0C84-B286F730E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BC1387-BAB8-6D24-1E08-AFBE3160F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95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1C6AA6-462D-41F5-2494-F592D6220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5D7E39-6C4D-4F5F-2E98-21AAA680CB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1D7439-B049-A502-5779-9537213785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1D0252-8048-4287-BEF0-1229064873A6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ECDBBA-8A44-8920-D050-69AEA487B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C8F554-4AD2-7C11-21E0-F075256749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9E5FB4-CBB6-47E2-BF6E-81501E8A7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36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9538258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A3F5C6-EE67-48B5-99B3-1CBEC54DB5C3}"/>
              </a:ext>
            </a:extLst>
          </p:cNvPr>
          <p:cNvSpPr/>
          <p:nvPr userDrawn="1">
            <p:custDataLst>
              <p:tags r:id="rId41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484BDAFE-4F69-4A06-AE5E-5ABFA07D1E0C}"/>
              </a:ext>
            </a:extLst>
          </p:cNvPr>
          <p:cNvSpPr>
            <a:spLocks/>
          </p:cNvSpPr>
          <p:nvPr userDrawn="1"/>
        </p:nvSpPr>
        <p:spPr bwMode="auto">
          <a:xfrm>
            <a:off x="914719" y="6585801"/>
            <a:ext cx="335348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smtClean="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800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66682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nabc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Video 14" title="Large Computer Servers">
            <a:hlinkClick r:id="" action="ppaction://media"/>
            <a:extLst>
              <a:ext uri="{FF2B5EF4-FFF2-40B4-BE49-F238E27FC236}">
                <a16:creationId xmlns:a16="http://schemas.microsoft.com/office/drawing/2014/main" id="{3CED6B91-4F18-F272-A499-28536466136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>
            <a:lum bright="-8000" contrast="3000"/>
          </a:blip>
          <a:stretch>
            <a:fillRect/>
          </a:stretch>
        </p:blipFill>
        <p:spPr>
          <a:xfrm>
            <a:off x="0" y="497925"/>
            <a:ext cx="12192000" cy="68580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6369C2BB-463E-1795-EDC1-01FAA26C96E8}"/>
              </a:ext>
            </a:extLst>
          </p:cNvPr>
          <p:cNvSpPr/>
          <p:nvPr/>
        </p:nvSpPr>
        <p:spPr>
          <a:xfrm>
            <a:off x="3907971" y="4203700"/>
            <a:ext cx="7562277" cy="174622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676727-DB87-5FBA-EA2D-26D6FC29E34E}"/>
              </a:ext>
            </a:extLst>
          </p:cNvPr>
          <p:cNvSpPr txBox="1">
            <a:spLocks/>
          </p:cNvSpPr>
          <p:nvPr/>
        </p:nvSpPr>
        <p:spPr>
          <a:xfrm>
            <a:off x="3531140" y="4191731"/>
            <a:ext cx="7198469" cy="1284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haric Morphological Segmentation using bidirectional LSTM neural network and rule-based segmentation</a:t>
            </a:r>
            <a:endParaRPr lang="en-US" sz="2400" b="1" dirty="0">
              <a:solidFill>
                <a:schemeClr val="bg1"/>
              </a:solidFill>
              <a:latin typeface="Montserrat" panose="00000500000000000000" pitchFamily="50" charset="0"/>
              <a:cs typeface="Poppins ExtraBold" panose="00000900000000000000" pitchFamily="2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2487B39-7618-4620-C615-ED7DBA936FB9}"/>
              </a:ext>
            </a:extLst>
          </p:cNvPr>
          <p:cNvCxnSpPr>
            <a:cxnSpLocks/>
          </p:cNvCxnSpPr>
          <p:nvPr/>
        </p:nvCxnSpPr>
        <p:spPr>
          <a:xfrm>
            <a:off x="3408881" y="5544239"/>
            <a:ext cx="7040880" cy="0"/>
          </a:xfrm>
          <a:prstGeom prst="line">
            <a:avLst/>
          </a:prstGeom>
          <a:noFill/>
          <a:ln w="6350" cap="flat" cmpd="sng" algn="ctr">
            <a:solidFill>
              <a:srgbClr val="F7921C"/>
            </a:solidFill>
            <a:prstDash val="solid"/>
            <a:miter lim="800000"/>
          </a:ln>
          <a:effectLst/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7A74865C-82D4-3F15-B36E-5779ECC49F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06" y="3618468"/>
            <a:ext cx="1965960" cy="22332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09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45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Conclusion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999D01B-B413-109E-22EA-7A63C2203B59}"/>
              </a:ext>
            </a:extLst>
          </p:cNvPr>
          <p:cNvSpPr txBox="1"/>
          <p:nvPr/>
        </p:nvSpPr>
        <p:spPr>
          <a:xfrm>
            <a:off x="1934992" y="3103251"/>
            <a:ext cx="871334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The model achieved an accuracy of 99.85% using unsupervised deep learning techniques, and this was combined with rule-based segmentation to predict the segmentation of Amharic words.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61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7377833-E310-2475-0859-A319CDCC89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4400" y="1353862"/>
            <a:ext cx="3323200" cy="29310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7B4F64-2C1B-A413-8632-779C96920023}"/>
              </a:ext>
            </a:extLst>
          </p:cNvPr>
          <p:cNvSpPr txBox="1"/>
          <p:nvPr/>
        </p:nvSpPr>
        <p:spPr>
          <a:xfrm>
            <a:off x="2120796" y="4284937"/>
            <a:ext cx="79504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7921C"/>
                </a:solidFill>
                <a:latin typeface="Montserrat" panose="00000500000000000000" pitchFamily="50" charset="0"/>
              </a:rPr>
              <a:t>THANK YOU!</a:t>
            </a:r>
          </a:p>
          <a:p>
            <a:pPr algn="ctr"/>
            <a:r>
              <a:rPr lang="en-US" sz="4000" b="1" dirty="0">
                <a:solidFill>
                  <a:srgbClr val="F7921C"/>
                </a:solidFill>
                <a:latin typeface="Montserrat" panose="00000500000000000000" pitchFamily="50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97109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F94C6-66F8-9F8E-805E-36D4E8C3ABDF}"/>
              </a:ext>
            </a:extLst>
          </p:cNvPr>
          <p:cNvSpPr txBox="1">
            <a:spLocks/>
          </p:cNvSpPr>
          <p:nvPr/>
        </p:nvSpPr>
        <p:spPr>
          <a:xfrm>
            <a:off x="1118071" y="997701"/>
            <a:ext cx="4582332" cy="1165678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i="0" kern="1200">
                <a:solidFill>
                  <a:schemeClr val="tx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>
              <a:defRPr/>
            </a:pPr>
            <a:endParaRPr lang="en-US" sz="5400" b="1" dirty="0">
              <a:solidFill>
                <a:srgbClr val="F7921C"/>
              </a:solidFill>
              <a:latin typeface="Montserrat Black" panose="00000A00000000000000" pitchFamily="50" charset="0"/>
              <a:ea typeface="Montserrat Thin" charset="0"/>
              <a:cs typeface="Poppins" panose="00000500000000000000" pitchFamily="2" charset="0"/>
            </a:endParaRPr>
          </a:p>
          <a:p>
            <a:pPr>
              <a:defRPr/>
            </a:pPr>
            <a:r>
              <a:rPr lang="en-US" sz="5400" b="1" dirty="0">
                <a:solidFill>
                  <a:srgbClr val="F7921C"/>
                </a:solidFill>
                <a:latin typeface="Montserrat Black" panose="00000A00000000000000" pitchFamily="50" charset="0"/>
                <a:ea typeface="Montserrat Thin" charset="0"/>
                <a:cs typeface="Poppins" panose="00000500000000000000" pitchFamily="2" charset="0"/>
              </a:rPr>
              <a:t>Outline</a:t>
            </a:r>
            <a:endParaRPr sz="5400" b="1" dirty="0">
              <a:solidFill>
                <a:srgbClr val="F7921C"/>
              </a:solidFill>
              <a:latin typeface="Montserrat Black" panose="00000A00000000000000" pitchFamily="50" charset="0"/>
              <a:ea typeface="Montserrat Thin" charset="0"/>
              <a:cs typeface="Poppins" panose="00000500000000000000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1FE4E8-910A-2628-52D7-7D6A61837BE5}"/>
              </a:ext>
            </a:extLst>
          </p:cNvPr>
          <p:cNvGrpSpPr/>
          <p:nvPr/>
        </p:nvGrpSpPr>
        <p:grpSpPr>
          <a:xfrm>
            <a:off x="701194" y="2800463"/>
            <a:ext cx="4325411" cy="463481"/>
            <a:chOff x="1077533" y="3456601"/>
            <a:chExt cx="4325411" cy="46348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7096096-C81A-E936-6A43-D11D2628F9C3}"/>
                </a:ext>
              </a:extLst>
            </p:cNvPr>
            <p:cNvGrpSpPr/>
            <p:nvPr/>
          </p:nvGrpSpPr>
          <p:grpSpPr>
            <a:xfrm>
              <a:off x="1077533" y="3456601"/>
              <a:ext cx="4325411" cy="463481"/>
              <a:chOff x="6453322" y="1648472"/>
              <a:chExt cx="4325411" cy="463481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36C5A3E-61E9-67D4-22FD-F308C0ED0F2B}"/>
                  </a:ext>
                </a:extLst>
              </p:cNvPr>
              <p:cNvSpPr txBox="1"/>
              <p:nvPr/>
            </p:nvSpPr>
            <p:spPr>
              <a:xfrm>
                <a:off x="6453322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21C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1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3075F4F-B86C-4D86-DD35-8402D87FEA3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2974" y="1648472"/>
                <a:ext cx="394575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kern="0" dirty="0">
                    <a:solidFill>
                      <a:schemeClr val="bg1"/>
                    </a:solidFill>
                    <a:latin typeface="Montserrat" panose="00000500000000000000" pitchFamily="50" charset="0"/>
                    <a:cs typeface="Poppins" panose="00000500000000000000" pitchFamily="2" charset="0"/>
                  </a:rPr>
                  <a:t>Introduction</a:t>
                </a: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50" charset="0"/>
                  <a:cs typeface="Poppins" panose="00000500000000000000" pitchFamily="2" charset="0"/>
                </a:endParaRP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096679-076A-8650-F3FD-D9C7E587084C}"/>
                </a:ext>
              </a:extLst>
            </p:cNvPr>
            <p:cNvCxnSpPr/>
            <p:nvPr/>
          </p:nvCxnSpPr>
          <p:spPr>
            <a:xfrm>
              <a:off x="1082923" y="3884473"/>
              <a:ext cx="292608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C531BB7-A779-20C4-5220-5D463C253C96}"/>
              </a:ext>
            </a:extLst>
          </p:cNvPr>
          <p:cNvGrpSpPr/>
          <p:nvPr/>
        </p:nvGrpSpPr>
        <p:grpSpPr>
          <a:xfrm>
            <a:off x="686335" y="4445870"/>
            <a:ext cx="4495266" cy="468921"/>
            <a:chOff x="1057939" y="3458417"/>
            <a:chExt cx="4067419" cy="46892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BE8C6D8-A980-6BF4-1545-E27AF442EE19}"/>
                </a:ext>
              </a:extLst>
            </p:cNvPr>
            <p:cNvGrpSpPr/>
            <p:nvPr/>
          </p:nvGrpSpPr>
          <p:grpSpPr>
            <a:xfrm>
              <a:off x="1057939" y="3458417"/>
              <a:ext cx="4067419" cy="468921"/>
              <a:chOff x="6433728" y="1650288"/>
              <a:chExt cx="4067419" cy="468921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AFD8EC4-ADE1-9A90-7CDA-B6FEB879F4A1}"/>
                  </a:ext>
                </a:extLst>
              </p:cNvPr>
              <p:cNvSpPr txBox="1"/>
              <p:nvPr/>
            </p:nvSpPr>
            <p:spPr>
              <a:xfrm>
                <a:off x="6433728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21C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3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6FF0396-A587-B5FE-3F02-29CA372FD0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22088" y="1657544"/>
                <a:ext cx="367905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Objective </a:t>
                </a:r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7FB42D0-96BD-B1FB-B027-F361157A0B5B}"/>
                </a:ext>
              </a:extLst>
            </p:cNvPr>
            <p:cNvCxnSpPr/>
            <p:nvPr/>
          </p:nvCxnSpPr>
          <p:spPr>
            <a:xfrm>
              <a:off x="1082923" y="3884473"/>
              <a:ext cx="292608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1C7E00-9268-8A35-7211-27E26C9C778A}"/>
              </a:ext>
            </a:extLst>
          </p:cNvPr>
          <p:cNvGrpSpPr/>
          <p:nvPr/>
        </p:nvGrpSpPr>
        <p:grpSpPr>
          <a:xfrm>
            <a:off x="6340539" y="2830002"/>
            <a:ext cx="5575844" cy="472549"/>
            <a:chOff x="1059061" y="3447533"/>
            <a:chExt cx="4325525" cy="47254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F42A17A-64FF-CE9E-2BE6-E036B78EE9E5}"/>
                </a:ext>
              </a:extLst>
            </p:cNvPr>
            <p:cNvGrpSpPr/>
            <p:nvPr/>
          </p:nvGrpSpPr>
          <p:grpSpPr>
            <a:xfrm>
              <a:off x="1059061" y="3447533"/>
              <a:ext cx="4325525" cy="472549"/>
              <a:chOff x="6434850" y="1639404"/>
              <a:chExt cx="4325525" cy="472549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A1CBE0A-720F-C026-0327-3A126CEDE230}"/>
                  </a:ext>
                </a:extLst>
              </p:cNvPr>
              <p:cNvSpPr txBox="1"/>
              <p:nvPr/>
            </p:nvSpPr>
            <p:spPr>
              <a:xfrm>
                <a:off x="6434850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21C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5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B8972E3-5E46-BA06-8603-2E13A80E987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97874" y="1639404"/>
                <a:ext cx="39625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Result and Discussion</a:t>
                </a:r>
              </a:p>
            </p:txBody>
          </p:sp>
        </p:grp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267D619-90E3-1A64-6CD7-F1D8E5448433}"/>
                </a:ext>
              </a:extLst>
            </p:cNvPr>
            <p:cNvCxnSpPr/>
            <p:nvPr/>
          </p:nvCxnSpPr>
          <p:spPr>
            <a:xfrm>
              <a:off x="1082923" y="3884473"/>
              <a:ext cx="228600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697A716-0E07-92AB-0665-4B404B110481}"/>
              </a:ext>
            </a:extLst>
          </p:cNvPr>
          <p:cNvGrpSpPr/>
          <p:nvPr/>
        </p:nvGrpSpPr>
        <p:grpSpPr>
          <a:xfrm>
            <a:off x="6318767" y="3715785"/>
            <a:ext cx="5119859" cy="478119"/>
            <a:chOff x="1050616" y="3441963"/>
            <a:chExt cx="3971789" cy="478119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7BF03AB-8307-748C-78F4-69CC075FFD55}"/>
                </a:ext>
              </a:extLst>
            </p:cNvPr>
            <p:cNvGrpSpPr/>
            <p:nvPr/>
          </p:nvGrpSpPr>
          <p:grpSpPr>
            <a:xfrm>
              <a:off x="1050616" y="3441963"/>
              <a:ext cx="3971789" cy="478119"/>
              <a:chOff x="6426405" y="1633834"/>
              <a:chExt cx="3971789" cy="478119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D3B3E80-68EB-E6E8-1E98-830842A4906F}"/>
                  </a:ext>
                </a:extLst>
              </p:cNvPr>
              <p:cNvSpPr txBox="1"/>
              <p:nvPr/>
            </p:nvSpPr>
            <p:spPr>
              <a:xfrm>
                <a:off x="6426405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21C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6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BAD86C2-BCF4-3505-948D-18FFBA5275B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97875" y="1633834"/>
                <a:ext cx="360031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Conclusion</a:t>
                </a:r>
              </a:p>
            </p:txBody>
          </p:sp>
        </p:grp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5E6D524-9795-BC37-DB68-A99FE56A7570}"/>
                </a:ext>
              </a:extLst>
            </p:cNvPr>
            <p:cNvCxnSpPr/>
            <p:nvPr/>
          </p:nvCxnSpPr>
          <p:spPr>
            <a:xfrm>
              <a:off x="1082923" y="3884473"/>
              <a:ext cx="228600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158006A-B65D-8FD8-26E8-5BEF454DA31C}"/>
              </a:ext>
            </a:extLst>
          </p:cNvPr>
          <p:cNvCxnSpPr>
            <a:cxnSpLocks/>
          </p:cNvCxnSpPr>
          <p:nvPr/>
        </p:nvCxnSpPr>
        <p:spPr>
          <a:xfrm>
            <a:off x="827904" y="2348794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E6FF5F3C-216D-6BD4-0C2C-5F7662CD76C0}"/>
              </a:ext>
            </a:extLst>
          </p:cNvPr>
          <p:cNvGrpSpPr/>
          <p:nvPr/>
        </p:nvGrpSpPr>
        <p:grpSpPr>
          <a:xfrm>
            <a:off x="686335" y="3638721"/>
            <a:ext cx="5186899" cy="463481"/>
            <a:chOff x="1077533" y="3456601"/>
            <a:chExt cx="5186899" cy="46348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D21AC25-F0E1-8537-4597-5654689BFB2C}"/>
                </a:ext>
              </a:extLst>
            </p:cNvPr>
            <p:cNvGrpSpPr/>
            <p:nvPr/>
          </p:nvGrpSpPr>
          <p:grpSpPr>
            <a:xfrm>
              <a:off x="1077533" y="3456601"/>
              <a:ext cx="5186899" cy="463481"/>
              <a:chOff x="6453322" y="1648472"/>
              <a:chExt cx="5186899" cy="463481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46D297E-7C3F-FD38-DECD-92E9F82E8760}"/>
                  </a:ext>
                </a:extLst>
              </p:cNvPr>
              <p:cNvSpPr txBox="1"/>
              <p:nvPr/>
            </p:nvSpPr>
            <p:spPr>
              <a:xfrm>
                <a:off x="6453322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 dirty="0">
                    <a:solidFill>
                      <a:srgbClr val="F7921C"/>
                    </a:solidFill>
                    <a:latin typeface="Montserrat" panose="00000500000000000000" pitchFamily="50" charset="0"/>
                    <a:cs typeface="Poppins" panose="00000500000000000000" pitchFamily="2" charset="0"/>
                  </a:rPr>
                  <a:t>2</a:t>
                </a: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7921C"/>
                  </a:solidFill>
                  <a:effectLst/>
                  <a:uLnTx/>
                  <a:uFillTx/>
                  <a:latin typeface="Montserrat" panose="00000500000000000000" pitchFamily="50" charset="0"/>
                  <a:cs typeface="Poppins" panose="00000500000000000000" pitchFamily="2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A30AB1E-DA7B-E0F7-4EC1-89ED4D74A30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2974" y="1648472"/>
                <a:ext cx="480724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kern="0" dirty="0">
                    <a:solidFill>
                      <a:schemeClr val="bg1"/>
                    </a:solidFill>
                    <a:latin typeface="Montserrat" panose="00000500000000000000" pitchFamily="50" charset="0"/>
                    <a:cs typeface="Poppins" panose="00000500000000000000" pitchFamily="2" charset="0"/>
                  </a:rPr>
                  <a:t>Challenges</a:t>
                </a: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50" charset="0"/>
                  <a:cs typeface="Poppins" panose="00000500000000000000" pitchFamily="2" charset="0"/>
                </a:endParaRPr>
              </a:p>
            </p:txBody>
          </p: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79C0788D-817A-109E-F28D-90F53EE1F779}"/>
                </a:ext>
              </a:extLst>
            </p:cNvPr>
            <p:cNvCxnSpPr/>
            <p:nvPr/>
          </p:nvCxnSpPr>
          <p:spPr>
            <a:xfrm>
              <a:off x="1082923" y="3884473"/>
              <a:ext cx="292608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6CA370C-87E6-96DB-93CB-7679F3F3EF34}"/>
              </a:ext>
            </a:extLst>
          </p:cNvPr>
          <p:cNvGrpSpPr/>
          <p:nvPr/>
        </p:nvGrpSpPr>
        <p:grpSpPr>
          <a:xfrm>
            <a:off x="663783" y="5263330"/>
            <a:ext cx="5490907" cy="479807"/>
            <a:chOff x="1042171" y="3458417"/>
            <a:chExt cx="4259634" cy="47980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EE3610C-255D-808D-2540-EB5236E168DE}"/>
                </a:ext>
              </a:extLst>
            </p:cNvPr>
            <p:cNvGrpSpPr/>
            <p:nvPr/>
          </p:nvGrpSpPr>
          <p:grpSpPr>
            <a:xfrm>
              <a:off x="1042171" y="3458417"/>
              <a:ext cx="4259634" cy="479807"/>
              <a:chOff x="6417960" y="1650288"/>
              <a:chExt cx="4259634" cy="479807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2414A1BC-3090-B7DE-FC07-B92E7F4A8865}"/>
                  </a:ext>
                </a:extLst>
              </p:cNvPr>
              <p:cNvSpPr txBox="1"/>
              <p:nvPr/>
            </p:nvSpPr>
            <p:spPr>
              <a:xfrm>
                <a:off x="6417960" y="1650288"/>
                <a:ext cx="4418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21C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4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BBD4810-7404-4550-186C-AB5C1AAA291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97874" y="1668430"/>
                <a:ext cx="387972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 panose="00000500000000000000" pitchFamily="50" charset="0"/>
                    <a:cs typeface="Poppins" panose="00000500000000000000" pitchFamily="2" charset="0"/>
                  </a:rPr>
                  <a:t>Methodology </a:t>
                </a:r>
              </a:p>
            </p:txBody>
          </p:sp>
        </p:grp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5E5FAEE-6CF0-856D-40B1-26C66560CA15}"/>
                </a:ext>
              </a:extLst>
            </p:cNvPr>
            <p:cNvCxnSpPr/>
            <p:nvPr/>
          </p:nvCxnSpPr>
          <p:spPr>
            <a:xfrm>
              <a:off x="1082923" y="3884473"/>
              <a:ext cx="228600" cy="0"/>
            </a:xfrm>
            <a:prstGeom prst="line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147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41554C3-49F9-054A-A1AD-37D4AB00D5E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  <a14:imgEffect>
                      <a14:brightnessContrast bright="-39000"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6908"/>
            <a:ext cx="12192000" cy="653109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BF669E1-B3CC-D362-E5AD-5FD6075141A5}"/>
              </a:ext>
            </a:extLst>
          </p:cNvPr>
          <p:cNvSpPr/>
          <p:nvPr/>
        </p:nvSpPr>
        <p:spPr bwMode="gray">
          <a:xfrm>
            <a:off x="0" y="-58371"/>
            <a:ext cx="12192000" cy="1895720"/>
          </a:xfrm>
          <a:prstGeom prst="rect">
            <a:avLst/>
          </a:prstGeom>
          <a:solidFill>
            <a:schemeClr val="tx1">
              <a:alpha val="39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7E5794-9CB5-C746-B2CE-94C648FBBC5B}"/>
              </a:ext>
            </a:extLst>
          </p:cNvPr>
          <p:cNvSpPr txBox="1"/>
          <p:nvPr/>
        </p:nvSpPr>
        <p:spPr>
          <a:xfrm>
            <a:off x="2446371" y="326971"/>
            <a:ext cx="9444069" cy="1718204"/>
          </a:xfrm>
          <a:prstGeom prst="rect">
            <a:avLst/>
          </a:prstGeom>
        </p:spPr>
        <p:txBody>
          <a:bodyPr vert="horz" wrap="square" lIns="0" tIns="0" rIns="0" bIns="0" numCol="1" spcCol="228600" rtlCol="0">
            <a:noAutofit/>
          </a:bodyPr>
          <a:lstStyle/>
          <a:p>
            <a:pPr lvl="0" algn="just"/>
            <a:r>
              <a:rPr lang="en-US" sz="2000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T</a:t>
            </a:r>
            <a:r>
              <a:rPr lang="en-US" sz="20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he process of breaking down words into their component morphemes, which are the smallest units of meaning</a:t>
            </a:r>
            <a:r>
              <a:rPr lang="en-US" sz="2000" dirty="0">
                <a:solidFill>
                  <a:schemeClr val="bg1"/>
                </a:solidFill>
              </a:rPr>
              <a:t>.</a:t>
            </a:r>
          </a:p>
          <a:p>
            <a:pPr lvl="0" algn="just"/>
            <a:r>
              <a:rPr lang="en-US" sz="20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Morphological segmentation is especially important for languages with complex morphology, such as Amharic, </a:t>
            </a:r>
            <a:r>
              <a:rPr lang="en-US" sz="20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Tigregna</a:t>
            </a:r>
            <a:r>
              <a:rPr lang="en-US" sz="20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 and </a:t>
            </a:r>
            <a:r>
              <a:rPr lang="en-US" sz="20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Afan</a:t>
            </a:r>
            <a:r>
              <a:rPr lang="en-US" sz="20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 Oromo.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EFFE2C-D98E-4B1E-916E-E4FCCEE8FC2A}"/>
              </a:ext>
            </a:extLst>
          </p:cNvPr>
          <p:cNvSpPr txBox="1"/>
          <p:nvPr/>
        </p:nvSpPr>
        <p:spPr>
          <a:xfrm>
            <a:off x="141514" y="4389306"/>
            <a:ext cx="117296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3200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C</a:t>
            </a:r>
            <a:r>
              <a:rPr lang="en-US" sz="3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an be particularly used in applications </a:t>
            </a:r>
            <a:endParaRPr lang="en-US" sz="3200" b="1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Montserrat" panose="00000500000000000000" pitchFamily="50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DE45F6-5D41-4DA0-801A-52EAFD5E3FD8}"/>
              </a:ext>
            </a:extLst>
          </p:cNvPr>
          <p:cNvSpPr txBox="1"/>
          <p:nvPr/>
        </p:nvSpPr>
        <p:spPr>
          <a:xfrm>
            <a:off x="173219" y="520157"/>
            <a:ext cx="209993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50" charset="0"/>
                <a:cs typeface="Poppins" panose="00000500000000000000" pitchFamily="2" charset="0"/>
              </a:rPr>
              <a:t>Morpholog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50" charset="0"/>
                <a:cs typeface="Poppins" panose="00000500000000000000" pitchFamily="2" charset="0"/>
              </a:rPr>
              <a:t>?</a:t>
            </a:r>
          </a:p>
        </p:txBody>
      </p:sp>
      <p:sp>
        <p:nvSpPr>
          <p:cNvPr id="3" name="Source">
            <a:extLst>
              <a:ext uri="{FF2B5EF4-FFF2-40B4-BE49-F238E27FC236}">
                <a16:creationId xmlns:a16="http://schemas.microsoft.com/office/drawing/2014/main" id="{312758F1-830A-4F46-BA0F-26A562F75720}"/>
              </a:ext>
            </a:extLst>
          </p:cNvPr>
          <p:cNvSpPr txBox="1"/>
          <p:nvPr/>
        </p:nvSpPr>
        <p:spPr>
          <a:xfrm>
            <a:off x="141514" y="6520324"/>
            <a:ext cx="9159137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50" charset="0"/>
                <a:cs typeface="Poppins" panose="00000500000000000000" pitchFamily="2" charset="0"/>
              </a:rPr>
              <a:t>Source: Gartner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43D5BB5-F57F-4100-AEFB-FD36F63D3E25}"/>
              </a:ext>
            </a:extLst>
          </p:cNvPr>
          <p:cNvSpPr/>
          <p:nvPr/>
        </p:nvSpPr>
        <p:spPr bwMode="gray">
          <a:xfrm>
            <a:off x="354681" y="2430454"/>
            <a:ext cx="2604027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I</a:t>
            </a:r>
            <a:r>
              <a:rPr lang="en-US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nformation retriev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4791926-E9D5-AA0D-4630-2D689F218364}"/>
              </a:ext>
            </a:extLst>
          </p:cNvPr>
          <p:cNvSpPr/>
          <p:nvPr/>
        </p:nvSpPr>
        <p:spPr bwMode="gray">
          <a:xfrm>
            <a:off x="4793986" y="1910290"/>
            <a:ext cx="2604027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M</a:t>
            </a:r>
            <a:r>
              <a:rPr lang="en-US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achine transl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957A66C-2A45-C9F3-DB99-71D55C1C0B3D}"/>
              </a:ext>
            </a:extLst>
          </p:cNvPr>
          <p:cNvSpPr/>
          <p:nvPr/>
        </p:nvSpPr>
        <p:spPr bwMode="gray">
          <a:xfrm>
            <a:off x="8652619" y="2378138"/>
            <a:ext cx="2604027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Speech recognition and other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951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2" grpId="0" animBg="1"/>
      <p:bldP spid="5" grpId="0" animBg="1"/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Challenge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6055B9-43B0-D88D-18E0-0859711B0991}"/>
              </a:ext>
            </a:extLst>
          </p:cNvPr>
          <p:cNvSpPr txBox="1"/>
          <p:nvPr/>
        </p:nvSpPr>
        <p:spPr>
          <a:xfrm>
            <a:off x="6496001" y="4182980"/>
            <a:ext cx="34650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400" b="0" i="0" dirty="0">
                <a:solidFill>
                  <a:schemeClr val="bg1"/>
                </a:solidFill>
              </a:rPr>
              <a:t>Lack of standardiza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9AC121-AC7D-D3BF-9E66-A6218A04241F}"/>
              </a:ext>
            </a:extLst>
          </p:cNvPr>
          <p:cNvSpPr txBox="1"/>
          <p:nvPr/>
        </p:nvSpPr>
        <p:spPr>
          <a:xfrm>
            <a:off x="6496001" y="3342007"/>
            <a:ext cx="32344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400" b="0" i="0" dirty="0">
                <a:solidFill>
                  <a:schemeClr val="bg1"/>
                </a:solidFill>
              </a:rPr>
              <a:t>Agglutinative natur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5B0106-A421-3DDD-4B3B-BBA739171337}"/>
              </a:ext>
            </a:extLst>
          </p:cNvPr>
          <p:cNvSpPr txBox="1"/>
          <p:nvPr/>
        </p:nvSpPr>
        <p:spPr>
          <a:xfrm>
            <a:off x="6496001" y="5128474"/>
            <a:ext cx="24450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400" b="0" i="0" dirty="0">
                <a:solidFill>
                  <a:schemeClr val="bg1"/>
                </a:solidFill>
              </a:rPr>
              <a:t>Lack of resource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805FB92-CB7B-8E5A-B047-B86CBBF55576}"/>
              </a:ext>
            </a:extLst>
          </p:cNvPr>
          <p:cNvSpPr txBox="1"/>
          <p:nvPr/>
        </p:nvSpPr>
        <p:spPr>
          <a:xfrm>
            <a:off x="6461761" y="2589369"/>
            <a:ext cx="40117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400" b="0" i="0" dirty="0">
                <a:solidFill>
                  <a:schemeClr val="bg1"/>
                </a:solidFill>
              </a:rPr>
              <a:t>Highly inflectional nature</a:t>
            </a:r>
            <a:endParaRPr lang="en-US" sz="2400" dirty="0">
              <a:solidFill>
                <a:schemeClr val="bg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A44084-A384-7224-0D97-7F48DE4009B5}"/>
              </a:ext>
            </a:extLst>
          </p:cNvPr>
          <p:cNvCxnSpPr>
            <a:cxnSpLocks/>
          </p:cNvCxnSpPr>
          <p:nvPr/>
        </p:nvCxnSpPr>
        <p:spPr>
          <a:xfrm flipV="1">
            <a:off x="5730240" y="2389632"/>
            <a:ext cx="0" cy="4048363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Benefits of Natural Language Processing for the Supply Chain - Blume Global">
            <a:extLst>
              <a:ext uri="{FF2B5EF4-FFF2-40B4-BE49-F238E27FC236}">
                <a16:creationId xmlns:a16="http://schemas.microsoft.com/office/drawing/2014/main" id="{7357FFDA-6B87-799B-471F-3C4794AB2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443" y="3142796"/>
            <a:ext cx="4136036" cy="2399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0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8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41554C3-49F9-054A-A1AD-37D4AB00D5E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  <a14:imgEffect>
                      <a14:brightnessContrast bright="-39000"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6737"/>
            <a:ext cx="12192000" cy="697473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BF669E1-B3CC-D362-E5AD-5FD6075141A5}"/>
              </a:ext>
            </a:extLst>
          </p:cNvPr>
          <p:cNvSpPr/>
          <p:nvPr/>
        </p:nvSpPr>
        <p:spPr bwMode="gray">
          <a:xfrm>
            <a:off x="0" y="-116737"/>
            <a:ext cx="12192000" cy="1895720"/>
          </a:xfrm>
          <a:prstGeom prst="rect">
            <a:avLst/>
          </a:prstGeom>
          <a:solidFill>
            <a:schemeClr val="tx1">
              <a:alpha val="39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7E5794-9CB5-C746-B2CE-94C648FBBC5B}"/>
              </a:ext>
            </a:extLst>
          </p:cNvPr>
          <p:cNvSpPr txBox="1"/>
          <p:nvPr/>
        </p:nvSpPr>
        <p:spPr>
          <a:xfrm>
            <a:off x="2446371" y="326971"/>
            <a:ext cx="9444069" cy="1718204"/>
          </a:xfrm>
          <a:prstGeom prst="rect">
            <a:avLst/>
          </a:prstGeom>
        </p:spPr>
        <p:txBody>
          <a:bodyPr vert="horz" wrap="square" lIns="0" tIns="0" rIns="0" bIns="0" numCol="1" spcCol="228600" rtlCol="0">
            <a:noAutofit/>
          </a:bodyPr>
          <a:lstStyle/>
          <a:p>
            <a:pPr lvl="0" algn="just"/>
            <a:r>
              <a:rPr lang="en-US" dirty="0">
                <a:solidFill>
                  <a:schemeClr val="bg1"/>
                </a:solidFill>
              </a:rPr>
              <a:t>The primary goal of this project is to achieve Amharic morphological segmentation through the integration of deep learning and rule-based segmentation techniques. The purpose is to break down words into their constituent morphemes, which will facilitate more precise natural language processing</a:t>
            </a:r>
            <a:r>
              <a:rPr lang="en-US" sz="24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.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EFFE2C-D98E-4B1E-916E-E4FCCEE8FC2A}"/>
              </a:ext>
            </a:extLst>
          </p:cNvPr>
          <p:cNvSpPr txBox="1"/>
          <p:nvPr/>
        </p:nvSpPr>
        <p:spPr>
          <a:xfrm>
            <a:off x="141514" y="4389306"/>
            <a:ext cx="117296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3200" dirty="0">
                <a:solidFill>
                  <a:schemeClr val="bg1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Specific objective</a:t>
            </a:r>
            <a:endParaRPr lang="en-US" sz="3200" b="1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Montserrat" panose="00000500000000000000" pitchFamily="50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DE45F6-5D41-4DA0-801A-52EAFD5E3FD8}"/>
              </a:ext>
            </a:extLst>
          </p:cNvPr>
          <p:cNvSpPr txBox="1"/>
          <p:nvPr/>
        </p:nvSpPr>
        <p:spPr>
          <a:xfrm>
            <a:off x="173219" y="520157"/>
            <a:ext cx="15468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50" charset="0"/>
                <a:cs typeface="Poppins" panose="00000500000000000000" pitchFamily="2" charset="0"/>
              </a:rPr>
              <a:t>Objectiv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50" charset="0"/>
              <a:cs typeface="Poppins" panose="00000500000000000000" pitchFamily="2" charset="0"/>
            </a:endParaRPr>
          </a:p>
        </p:txBody>
      </p:sp>
      <p:sp>
        <p:nvSpPr>
          <p:cNvPr id="3" name="Source">
            <a:extLst>
              <a:ext uri="{FF2B5EF4-FFF2-40B4-BE49-F238E27FC236}">
                <a16:creationId xmlns:a16="http://schemas.microsoft.com/office/drawing/2014/main" id="{312758F1-830A-4F46-BA0F-26A562F75720}"/>
              </a:ext>
            </a:extLst>
          </p:cNvPr>
          <p:cNvSpPr txBox="1"/>
          <p:nvPr/>
        </p:nvSpPr>
        <p:spPr>
          <a:xfrm>
            <a:off x="141514" y="6520324"/>
            <a:ext cx="9159137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ontserrat" panose="00000500000000000000" pitchFamily="50" charset="0"/>
                <a:cs typeface="Poppins" panose="00000500000000000000" pitchFamily="2" charset="0"/>
              </a:rPr>
              <a:t>Source: Gartner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43D5BB5-F57F-4100-AEFB-FD36F63D3E25}"/>
              </a:ext>
            </a:extLst>
          </p:cNvPr>
          <p:cNvSpPr/>
          <p:nvPr/>
        </p:nvSpPr>
        <p:spPr bwMode="gray">
          <a:xfrm>
            <a:off x="354681" y="2430454"/>
            <a:ext cx="2604027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</a:rPr>
              <a:t>Data Collection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4791926-E9D5-AA0D-4630-2D689F218364}"/>
              </a:ext>
            </a:extLst>
          </p:cNvPr>
          <p:cNvSpPr/>
          <p:nvPr/>
        </p:nvSpPr>
        <p:spPr bwMode="gray">
          <a:xfrm>
            <a:off x="4793986" y="1910290"/>
            <a:ext cx="2822771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dirty="0">
                <a:solidFill>
                  <a:schemeClr val="bg1"/>
                </a:solidFill>
                <a:latin typeface="Times New Roman" panose="02020603050405020304" pitchFamily="18" charset="0"/>
              </a:rPr>
              <a:t>Preprocessing and feature extrac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957A66C-2A45-C9F3-DB99-71D55C1C0B3D}"/>
              </a:ext>
            </a:extLst>
          </p:cNvPr>
          <p:cNvSpPr/>
          <p:nvPr/>
        </p:nvSpPr>
        <p:spPr bwMode="gray">
          <a:xfrm>
            <a:off x="8652619" y="2378138"/>
            <a:ext cx="2604027" cy="771660"/>
          </a:xfrm>
          <a:prstGeom prst="roundRect">
            <a:avLst>
              <a:gd name="adj" fmla="val 50000"/>
            </a:avLst>
          </a:prstGeom>
          <a:noFill/>
          <a:ln w="19050" algn="ctr">
            <a:solidFill>
              <a:srgbClr val="F7921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Model developmen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89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2" grpId="0" animBg="1"/>
      <p:bldP spid="5" grpId="0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Methodology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A44084-A384-7224-0D97-7F48DE4009B5}"/>
              </a:ext>
            </a:extLst>
          </p:cNvPr>
          <p:cNvCxnSpPr>
            <a:cxnSpLocks/>
          </p:cNvCxnSpPr>
          <p:nvPr/>
        </p:nvCxnSpPr>
        <p:spPr>
          <a:xfrm flipV="1">
            <a:off x="5504098" y="2389632"/>
            <a:ext cx="0" cy="4048363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E786E90-D622-4DA7-71E2-5B3813E7A359}"/>
              </a:ext>
            </a:extLst>
          </p:cNvPr>
          <p:cNvSpPr txBox="1"/>
          <p:nvPr/>
        </p:nvSpPr>
        <p:spPr>
          <a:xfrm>
            <a:off x="860680" y="2012995"/>
            <a:ext cx="4496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7921C"/>
                </a:solidFill>
                <a:latin typeface="Montserrat" panose="00000500000000000000" pitchFamily="50" charset="0"/>
              </a:rPr>
              <a:t>Data Collection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CAE584-AA89-AE3C-A6FD-8886225A2C2C}"/>
              </a:ext>
            </a:extLst>
          </p:cNvPr>
          <p:cNvSpPr txBox="1"/>
          <p:nvPr/>
        </p:nvSpPr>
        <p:spPr>
          <a:xfrm>
            <a:off x="860680" y="2389632"/>
            <a:ext cx="33429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/>
            <a:r>
              <a:rPr lang="en-US" sz="1600" b="1" i="0" dirty="0">
                <a:solidFill>
                  <a:schemeClr val="bg1"/>
                </a:solidFill>
              </a:rPr>
              <a:t>Web Scrapped</a:t>
            </a:r>
            <a:r>
              <a:rPr lang="en-US" sz="1600" dirty="0">
                <a:solidFill>
                  <a:schemeClr val="bg1"/>
                </a:solidFill>
              </a:rPr>
              <a:t> f</a:t>
            </a:r>
            <a:r>
              <a:rPr lang="en-US" sz="1600" b="1" i="0" dirty="0">
                <a:solidFill>
                  <a:schemeClr val="bg1"/>
                </a:solidFill>
              </a:rPr>
              <a:t>rom </a:t>
            </a:r>
            <a:r>
              <a:rPr lang="en-US" sz="1600" u="sng" dirty="0">
                <a:solidFill>
                  <a:srgbClr val="1155CC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  <a:hlinkClick r:id="rId3"/>
              </a:rPr>
              <a:t>www.fanabc.com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0" name="image2.png">
            <a:extLst>
              <a:ext uri="{FF2B5EF4-FFF2-40B4-BE49-F238E27FC236}">
                <a16:creationId xmlns:a16="http://schemas.microsoft.com/office/drawing/2014/main" id="{210A498D-C1E1-C9A7-ACEC-43CD02EC5DD3}"/>
              </a:ext>
            </a:extLst>
          </p:cNvPr>
          <p:cNvPicPr/>
          <p:nvPr/>
        </p:nvPicPr>
        <p:blipFill rotWithShape="1">
          <a:blip r:embed="rId4"/>
          <a:srcRect r="25250" b="52370"/>
          <a:stretch/>
        </p:blipFill>
        <p:spPr>
          <a:xfrm>
            <a:off x="299888" y="3429000"/>
            <a:ext cx="2435017" cy="2201676"/>
          </a:xfrm>
          <a:prstGeom prst="rect">
            <a:avLst/>
          </a:prstGeom>
          <a:ln/>
        </p:spPr>
      </p:pic>
      <p:pic>
        <p:nvPicPr>
          <p:cNvPr id="11" name="image3.png">
            <a:extLst>
              <a:ext uri="{FF2B5EF4-FFF2-40B4-BE49-F238E27FC236}">
                <a16:creationId xmlns:a16="http://schemas.microsoft.com/office/drawing/2014/main" id="{CF800425-9134-87D0-F9C7-F637FB51593E}"/>
              </a:ext>
            </a:extLst>
          </p:cNvPr>
          <p:cNvPicPr/>
          <p:nvPr/>
        </p:nvPicPr>
        <p:blipFill rotWithShape="1">
          <a:blip r:embed="rId4"/>
          <a:srcRect t="47492" r="19516" b="2880"/>
          <a:stretch/>
        </p:blipFill>
        <p:spPr>
          <a:xfrm>
            <a:off x="2734905" y="3429000"/>
            <a:ext cx="2621832" cy="2201678"/>
          </a:xfrm>
          <a:prstGeom prst="rect">
            <a:avLst/>
          </a:prstGeom>
          <a:ln/>
        </p:spPr>
      </p:pic>
      <p:pic>
        <p:nvPicPr>
          <p:cNvPr id="12" name="image4.png">
            <a:extLst>
              <a:ext uri="{FF2B5EF4-FFF2-40B4-BE49-F238E27FC236}">
                <a16:creationId xmlns:a16="http://schemas.microsoft.com/office/drawing/2014/main" id="{0BC7C370-AF5A-7AA7-6AC4-584C088331F4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5651460" y="2012995"/>
            <a:ext cx="6081238" cy="3480703"/>
          </a:xfrm>
          <a:prstGeom prst="rect">
            <a:avLst/>
          </a:prstGeom>
          <a:solidFill>
            <a:schemeClr val="bg1"/>
          </a:solidFill>
          <a:ln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8B3EDD3-C10B-0623-AB59-4BDD09921971}"/>
              </a:ext>
            </a:extLst>
          </p:cNvPr>
          <p:cNvSpPr txBox="1"/>
          <p:nvPr/>
        </p:nvSpPr>
        <p:spPr>
          <a:xfrm>
            <a:off x="5651459" y="5630676"/>
            <a:ext cx="6157913" cy="8941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Fig 1.   1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ህብረተሰብ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2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ልብ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ወለድ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3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ማራኪ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አንቀፅ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4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ርዕስ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አንቀፅ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5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ባህል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6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ነፃ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አስተያየት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7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ንግድና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ኢኮኖሚ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8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አግራሞት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9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ከአለም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ዙሪያ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0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ኪነ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-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ጥበባዊ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ዜና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1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ዜና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2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የሰሞኑ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አጀንዳ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3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የግጥም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ጥግ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4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ጤና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15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ጥበብ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እና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16:</a:t>
            </a:r>
            <a:r>
              <a:rPr lang="en-US" sz="1200" dirty="0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ፖለቲካ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Nyala" panose="02000504070300020003" pitchFamily="2" charset="0"/>
                <a:ea typeface="Nyala" panose="02000504070300020003" pitchFamily="2" charset="0"/>
                <a:cs typeface="Nyala" panose="02000504070300020003" pitchFamily="2" charset="0"/>
              </a:rPr>
              <a:t>በፈገግታ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Nyala" panose="02000504070300020003" pitchFamily="2" charset="0"/>
              </a:rPr>
              <a:t> , </a:t>
            </a:r>
            <a:endParaRPr lang="en-US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35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Methodology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A44084-A384-7224-0D97-7F48DE4009B5}"/>
              </a:ext>
            </a:extLst>
          </p:cNvPr>
          <p:cNvCxnSpPr>
            <a:cxnSpLocks/>
          </p:cNvCxnSpPr>
          <p:nvPr/>
        </p:nvCxnSpPr>
        <p:spPr>
          <a:xfrm flipV="1">
            <a:off x="5730240" y="2389632"/>
            <a:ext cx="0" cy="4048363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Benefits of Natural Language Processing for the Supply Chain - Blume Global">
            <a:extLst>
              <a:ext uri="{FF2B5EF4-FFF2-40B4-BE49-F238E27FC236}">
                <a16:creationId xmlns:a16="http://schemas.microsoft.com/office/drawing/2014/main" id="{7357FFDA-6B87-799B-471F-3C4794AB2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443" y="3142796"/>
            <a:ext cx="4136036" cy="2399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C9DCCE0-C055-84F9-8422-04CD1D6B782B}"/>
              </a:ext>
            </a:extLst>
          </p:cNvPr>
          <p:cNvSpPr txBox="1"/>
          <p:nvPr/>
        </p:nvSpPr>
        <p:spPr>
          <a:xfrm>
            <a:off x="860680" y="2012995"/>
            <a:ext cx="4496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7921C"/>
                </a:solidFill>
                <a:latin typeface="Montserrat" panose="00000500000000000000" pitchFamily="50" charset="0"/>
              </a:rPr>
              <a:t>Data Preprocessing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99D01B-B413-109E-22EA-7A63C2203B59}"/>
              </a:ext>
            </a:extLst>
          </p:cNvPr>
          <p:cNvSpPr txBox="1"/>
          <p:nvPr/>
        </p:nvSpPr>
        <p:spPr>
          <a:xfrm>
            <a:off x="6194321" y="2774501"/>
            <a:ext cx="54667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moved punctuation and special cha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2C8CBD-6EAA-6FE8-D913-DE6218A5F6D8}"/>
              </a:ext>
            </a:extLst>
          </p:cNvPr>
          <p:cNvSpPr txBox="1"/>
          <p:nvPr/>
        </p:nvSpPr>
        <p:spPr>
          <a:xfrm>
            <a:off x="6176896" y="3149316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moved non Amharic ascii and numb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A541AB-485B-93C3-2DB2-A8CA9767E462}"/>
              </a:ext>
            </a:extLst>
          </p:cNvPr>
          <p:cNvSpPr txBox="1"/>
          <p:nvPr/>
        </p:nvSpPr>
        <p:spPr>
          <a:xfrm>
            <a:off x="6194321" y="3549426"/>
            <a:ext cx="61386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Normalized char level replac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85BFF9D-0AB7-CC81-D387-DE5DEEBBFB26}"/>
              </a:ext>
            </a:extLst>
          </p:cNvPr>
          <p:cNvSpPr txBox="1"/>
          <p:nvPr/>
        </p:nvSpPr>
        <p:spPr>
          <a:xfrm>
            <a:off x="6194321" y="3950076"/>
            <a:ext cx="61691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Tokenize word form sente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A61457-A60D-F18E-E59C-64773104D629}"/>
              </a:ext>
            </a:extLst>
          </p:cNvPr>
          <p:cNvSpPr txBox="1"/>
          <p:nvPr/>
        </p:nvSpPr>
        <p:spPr>
          <a:xfrm>
            <a:off x="6194321" y="4352853"/>
            <a:ext cx="618134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move duplicate word from </a:t>
            </a:r>
            <a:r>
              <a:rPr lang="en-US" sz="2000" dirty="0" err="1">
                <a:solidFill>
                  <a:schemeClr val="bg1"/>
                </a:solidFill>
              </a:rPr>
              <a:t>tokenized_word_list</a:t>
            </a:r>
            <a:endParaRPr lang="en-US" sz="20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Before removed duplicated word: 580209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fter removed duplicated word: 447137</a:t>
            </a:r>
          </a:p>
        </p:txBody>
      </p:sp>
    </p:spTree>
    <p:extLst>
      <p:ext uri="{BB962C8B-B14F-4D97-AF65-F5344CB8AC3E}">
        <p14:creationId xmlns:p14="http://schemas.microsoft.com/office/powerpoint/2010/main" val="111669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5" grpId="0"/>
      <p:bldP spid="17" grpId="0"/>
      <p:bldP spid="19" grpId="0"/>
      <p:bldP spid="2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Methodology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A44084-A384-7224-0D97-7F48DE4009B5}"/>
              </a:ext>
            </a:extLst>
          </p:cNvPr>
          <p:cNvCxnSpPr>
            <a:cxnSpLocks/>
          </p:cNvCxnSpPr>
          <p:nvPr/>
        </p:nvCxnSpPr>
        <p:spPr>
          <a:xfrm flipV="1">
            <a:off x="6206895" y="2413105"/>
            <a:ext cx="0" cy="4048363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C9DCCE0-C055-84F9-8422-04CD1D6B782B}"/>
              </a:ext>
            </a:extLst>
          </p:cNvPr>
          <p:cNvSpPr txBox="1"/>
          <p:nvPr/>
        </p:nvSpPr>
        <p:spPr>
          <a:xfrm>
            <a:off x="860680" y="2012995"/>
            <a:ext cx="4496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7921C"/>
                </a:solidFill>
                <a:latin typeface="Montserrat" panose="00000500000000000000" pitchFamily="50" charset="0"/>
              </a:rPr>
              <a:t>Model develop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99D01B-B413-109E-22EA-7A63C2203B59}"/>
              </a:ext>
            </a:extLst>
          </p:cNvPr>
          <p:cNvSpPr txBox="1"/>
          <p:nvPr/>
        </p:nvSpPr>
        <p:spPr>
          <a:xfrm>
            <a:off x="6466514" y="2774501"/>
            <a:ext cx="519454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Arial" panose="020B0604020202020204" pitchFamily="34" charset="0"/>
              </a:rPr>
              <a:t>Leveraging unsupervised deep learning  and rule-based segmentation techniques to create a robust and accurate system for segmenting words into their constituent morphemes. </a:t>
            </a:r>
          </a:p>
          <a:p>
            <a:endParaRPr lang="en-US" sz="2000" dirty="0">
              <a:solidFill>
                <a:schemeClr val="bg1"/>
              </a:solidFill>
              <a:latin typeface="Times New Roman" panose="02020603050405020304" pitchFamily="18" charset="0"/>
              <a:ea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irectional LSTM neural network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en-US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e-based segmentation algorithm</a:t>
            </a:r>
            <a:endParaRPr lang="en-US" sz="20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Arial" panose="020B0604020202020204" pitchFamily="34" charset="0"/>
            </a:endParaRPr>
          </a:p>
          <a:p>
            <a:endParaRPr lang="en-US" sz="2000" dirty="0">
              <a:solidFill>
                <a:schemeClr val="bg1"/>
              </a:solidFill>
              <a:latin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4" name="Picture 2" descr="Differences Between Bidirectional and Unidirectional LSTM | Baeldung on  Computer Science">
            <a:extLst>
              <a:ext uri="{FF2B5EF4-FFF2-40B4-BE49-F238E27FC236}">
                <a16:creationId xmlns:a16="http://schemas.microsoft.com/office/drawing/2014/main" id="{71B7A469-66FA-7494-9E08-454F37A3E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191" y="3139970"/>
            <a:ext cx="5959802" cy="281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357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000">
              <a:schemeClr val="tx1"/>
            </a:gs>
            <a:gs pos="100000">
              <a:srgbClr val="110A7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52465CF-2FC6-D6C7-3025-154002B97277}"/>
              </a:ext>
            </a:extLst>
          </p:cNvPr>
          <p:cNvSpPr txBox="1"/>
          <p:nvPr/>
        </p:nvSpPr>
        <p:spPr>
          <a:xfrm>
            <a:off x="672291" y="534346"/>
            <a:ext cx="923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>
                <a:solidFill>
                  <a:srgbClr val="F7921C"/>
                </a:solidFill>
                <a:latin typeface="Montserrat" panose="00000500000000000000" pitchFamily="50" charset="0"/>
              </a:rPr>
              <a:t>Result and Discussion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A44084-A384-7224-0D97-7F48DE4009B5}"/>
              </a:ext>
            </a:extLst>
          </p:cNvPr>
          <p:cNvCxnSpPr>
            <a:cxnSpLocks/>
          </p:cNvCxnSpPr>
          <p:nvPr/>
        </p:nvCxnSpPr>
        <p:spPr>
          <a:xfrm flipV="1">
            <a:off x="5730240" y="2389632"/>
            <a:ext cx="0" cy="4048363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BED793-64D7-BBB5-BE7A-F6CB1E180081}"/>
              </a:ext>
            </a:extLst>
          </p:cNvPr>
          <p:cNvCxnSpPr>
            <a:cxnSpLocks/>
          </p:cNvCxnSpPr>
          <p:nvPr/>
        </p:nvCxnSpPr>
        <p:spPr>
          <a:xfrm>
            <a:off x="828443" y="1836730"/>
            <a:ext cx="9409039" cy="0"/>
          </a:xfrm>
          <a:prstGeom prst="line">
            <a:avLst/>
          </a:prstGeom>
          <a:ln w="3175">
            <a:solidFill>
              <a:srgbClr val="F792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999D01B-B413-109E-22EA-7A63C2203B59}"/>
              </a:ext>
            </a:extLst>
          </p:cNvPr>
          <p:cNvSpPr txBox="1"/>
          <p:nvPr/>
        </p:nvSpPr>
        <p:spPr>
          <a:xfrm>
            <a:off x="263508" y="2277341"/>
            <a:ext cx="48689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2000" dirty="0">
              <a:solidFill>
                <a:schemeClr val="bg1"/>
              </a:solidFill>
              <a:latin typeface="Times New Roman" panose="02020603050405020304" pitchFamily="18" charset="0"/>
              <a:ea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irectional LSTM neural network model resul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Test loss: 0.0056,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Test accuracy: 0.999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Training accuracy: 0.9985</a:t>
            </a:r>
            <a:endParaRPr lang="en-US" sz="2000" dirty="0">
              <a:solidFill>
                <a:schemeClr val="bg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en-US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le-based segmentation algorithm</a:t>
            </a:r>
            <a:endParaRPr lang="en-US" sz="20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Arial" panose="020B0604020202020204" pitchFamily="34" charset="0"/>
            </a:endParaRPr>
          </a:p>
          <a:p>
            <a:endParaRPr lang="en-US" sz="2000" dirty="0">
              <a:solidFill>
                <a:schemeClr val="bg1"/>
              </a:solidFill>
              <a:latin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7F317290-B992-B36C-E7F9-E5B44BFFBC64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6461760" y="2389632"/>
            <a:ext cx="5032141" cy="3411391"/>
          </a:xfrm>
          <a:prstGeom prst="rect">
            <a:avLst/>
          </a:prstGeom>
          <a:solidFill>
            <a:schemeClr val="bg1"/>
          </a:solidFill>
          <a:ln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B14C94-C04F-85AA-B8ED-8CF254C5B2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496" y="4666025"/>
            <a:ext cx="4467225" cy="3333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C116A5D-43F7-AA23-4D69-49B84FA045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96" y="5192512"/>
            <a:ext cx="3067050" cy="2857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64933AE-3594-EB76-A8CF-94770A6CCE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496" y="5763709"/>
            <a:ext cx="2667000" cy="25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81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rHIRCbDLLbaiFCih4O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noFill/>
        <a:ln w="25400" cap="flat" cmpd="sng" algn="ctr">
          <a:solidFill>
            <a:srgbClr val="ADCC76"/>
          </a:solidFill>
          <a:prstDash val="soli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17</TotalTime>
  <Words>391</Words>
  <Application>Microsoft Office PowerPoint</Application>
  <PresentationFormat>Widescreen</PresentationFormat>
  <Paragraphs>76</Paragraphs>
  <Slides>11</Slides>
  <Notes>11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Consolas</vt:lpstr>
      <vt:lpstr>Open Sans Light</vt:lpstr>
      <vt:lpstr>Nyala</vt:lpstr>
      <vt:lpstr>Calibri Light</vt:lpstr>
      <vt:lpstr>Times New Roman</vt:lpstr>
      <vt:lpstr>Calibri</vt:lpstr>
      <vt:lpstr>Montserrat Black</vt:lpstr>
      <vt:lpstr>Arial</vt:lpstr>
      <vt:lpstr>Montserrat</vt:lpstr>
      <vt:lpstr>Wingdings 2</vt:lpstr>
      <vt:lpstr>Verdana</vt:lpstr>
      <vt:lpstr>Open Sans</vt:lpstr>
      <vt:lpstr>Office Theme</vt:lpstr>
      <vt:lpstr>Deloitte_US_Letter_Prin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lokassa@gmail.com</dc:creator>
  <cp:lastModifiedBy>Sinte</cp:lastModifiedBy>
  <cp:revision>118</cp:revision>
  <dcterms:created xsi:type="dcterms:W3CDTF">2022-09-14T22:51:58Z</dcterms:created>
  <dcterms:modified xsi:type="dcterms:W3CDTF">2023-03-03T14:29:40Z</dcterms:modified>
</cp:coreProperties>
</file>